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60" r:id="rId3"/>
    <p:sldId id="257" r:id="rId4"/>
    <p:sldId id="258" r:id="rId5"/>
    <p:sldId id="259" r:id="rId6"/>
    <p:sldId id="261" r:id="rId7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C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27A96B9-0224-4F23-983E-75DBB8D0B8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8E34E59-F2A2-45C0-A55D-0CDD2B47C0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6468599-625C-407F-8159-516ACF838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6DBAB8A-C165-4E7E-8B2A-0BCF53112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A78483-6BD5-4995-88E2-A1DE75067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46322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D2DFF2-7483-44B9-82CB-F4B9086AED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180226F-E20D-4547-BCA4-7CE88AF6A9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569A504-03F6-4DCC-93F3-02A04E56E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57612D2-4052-4C19-86D6-58B58AA692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7E50984-E7AC-419A-8C34-4BB3267BF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38102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974523F7-50E8-48AB-8507-0B61B45D1C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299496C-0BF9-4866-B221-6352624870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95734B6-620D-408F-AB25-22335E0C2F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002578D-8FD8-453B-855F-1B5E4AD33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7239467-40EB-4ECE-B8A7-36625B5B2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76603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C365C55-7F8C-4818-AC5B-264B222737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E323F2-BF36-41E7-9205-80F91C5E2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14BA391-F9F5-47D9-8270-FABFE8293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D478F52-F0EA-48CB-83CA-AE095B580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776D8263-F845-4BBC-8C31-DF6F74F05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91567"/>
            <a:ext cx="10515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798666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13B5F25-4B15-4822-B089-D205E859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BDC92FE-89EC-4F5F-A658-1E30720506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0369391-0FCC-4FAE-BD62-8FEEDB1D19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7434DD2-B7B7-4B13-8D1A-9937A7ABB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74A12E9-7586-4D48-8489-E3C721914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92753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848AC64-70A6-4C47-A65F-FB6BDF436B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D1EE2AF-EEB4-472A-9E80-13FCD2AFF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DC7D521-3E5F-4C9D-B5CB-ECC50E4E27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FA99525E-1220-4EBD-825B-36288AF2F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9E43809-5F0E-4EF6-B668-C3DE229E0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BE489D4-5F29-4357-B966-C2E7FC773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3698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992AFD-D071-4D8D-B14B-0444880F5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7E7C5BF-8B02-4D85-8505-224CC7AC33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D06539C-F0EC-4897-815A-176035AD56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64B8DCF-6765-4E65-9308-FB50B018E0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98E1B637-E1BC-4459-B34F-EEEED390E7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C8B5C8D-F723-4078-9A1B-72DB01C720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BE166A4-D549-4F8F-937F-B3AA60536A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53845EC5-B66C-451D-B3E2-4BD31ECF5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994846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382AB2-96F4-481D-8BD0-293219F47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F08B2B1-DCF4-48F8-BB24-972EBAD688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15D176D-BF39-4C41-966E-47E04CD63C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F854A0B-82D2-4054-8251-3882D0960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12519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4E1FFC35-B23D-4BF4-B315-70DDEC8C4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7BC5D7CD-61DD-4818-A658-6A8678791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23D9DF6-F97E-401B-BC35-F01D958BE5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5249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1D20C96-A6F7-4521-93C0-77A8C6EC8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470943-51AB-4F4D-838C-183F6F1A9E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2D2C8A0-146C-41FD-B397-420C3704DC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4C3A9FA-DC6A-4BE6-A0F4-53E30B766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2D2346AF-7C85-49E0-8AA4-C82B05DAA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0BC2F48-7735-45D6-B288-655340AD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2510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8CCF51-47E8-46B8-B9AF-673FBD4E7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6A68043-34A1-43EB-BF0F-2F34AFC586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ADB1FF2-7BDB-4739-8EC7-AFF9E5FA90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09F780BE-D1A9-479F-B9A1-CDB330F87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438B82E-B385-4861-A0B1-DEBD3B084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C4815BA-DF11-4FF2-AC38-9BC561D82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45591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2676865-5BD3-4A71-BFF2-28CD226EB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AB00582-381A-4562-8BA2-B976048A03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3BEFE1C-1EF2-4F46-B85D-885D34BAB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F476E-D4B2-4F8E-9346-5F66F3A9DBCB}" type="datetimeFigureOut">
              <a:rPr lang="es-ES" smtClean="0"/>
              <a:t>14/05/2020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4848E37-8F5E-463A-BC0E-43D7DFE33B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1DE6FFB-46BC-477E-94C4-9EEFDAEC6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30FF83-ABFF-4599-8A6C-CB24F7C6D8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89682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A667979-3DFA-4D73-B2DF-23081AD6C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/>
          <a:lstStyle/>
          <a:p>
            <a:r>
              <a:rPr lang="es-ES" b="1" dirty="0">
                <a:solidFill>
                  <a:srgbClr val="FF5C62"/>
                </a:solidFill>
              </a:rPr>
              <a:t>PROGRAMACIÓ AVANÇADA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37F8F5B-F679-4B77-91F0-43EA69255D2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/>
              <a:t>Vicenç Soler</a:t>
            </a:r>
          </a:p>
          <a:p>
            <a:r>
              <a:rPr lang="es-ES"/>
              <a:t>vicenc.soler@uab.cat</a:t>
            </a:r>
          </a:p>
          <a:p>
            <a:r>
              <a:rPr lang="es-ES"/>
              <a:t>Escola d’Enginyeria, UAB</a:t>
            </a:r>
            <a:endParaRPr lang="es-ES" dirty="0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6F9BEF1F-CB67-455B-A8DE-E50BFC6BD344}"/>
              </a:ext>
            </a:extLst>
          </p:cNvPr>
          <p:cNvSpPr/>
          <p:nvPr/>
        </p:nvSpPr>
        <p:spPr>
          <a:xfrm>
            <a:off x="506027" y="426128"/>
            <a:ext cx="11079332" cy="5974672"/>
          </a:xfrm>
          <a:prstGeom prst="rect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09024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B0A46283-0994-4C79-8BE0-9B5FDD345E5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1233996"/>
          </a:xfrm>
          <a:prstGeom prst="rect">
            <a:avLst/>
          </a:prstGeom>
          <a:solidFill>
            <a:srgbClr val="FF5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624352F-C0CF-4A0F-80B6-CF69DDE30A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>
                <a:solidFill>
                  <a:schemeClr val="bg1"/>
                </a:solidFill>
              </a:rPr>
              <a:t>L’Assignatura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2AF2502-E3EB-4CEE-9BF9-4274836442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ca-ES"/>
              <a:t>L’objectiu principal de l’assignatura és la millora de les habilitats i coneixements de programació dels estudiants, i per això aquest curs està orientat a la pràctica.</a:t>
            </a:r>
          </a:p>
          <a:p>
            <a:pPr lvl="1"/>
            <a:r>
              <a:rPr lang="ca-ES"/>
              <a:t>Els conceptes teòrics es van aprenent practicant i programant.</a:t>
            </a:r>
          </a:p>
          <a:p>
            <a:pPr lvl="1"/>
            <a:r>
              <a:rPr lang="ca-ES"/>
              <a:t>No hi haurà classes teòriques ni pràctiques exclusivament. Totes seran classes amb ordinador al davant desenvolupant exercicis que anirem practicant. </a:t>
            </a:r>
          </a:p>
          <a:p>
            <a:r>
              <a:rPr lang="ca-ES"/>
              <a:t>Hi haurà 2 entregues de practiques durant el curs: </a:t>
            </a:r>
          </a:p>
          <a:p>
            <a:pPr lvl="1"/>
            <a:r>
              <a:rPr lang="ca-ES"/>
              <a:t>Seran 2 jocs que desenvoluparem durant el curs</a:t>
            </a:r>
          </a:p>
          <a:p>
            <a:r>
              <a:rPr lang="ca-ES"/>
              <a:t>El desenvolupament de jocs, com a base per a les pràctiques de l'assignatura, proporciona l'obligació d'utilitzar molts aspectes diferents dels llenguatges de programació.</a:t>
            </a:r>
          </a:p>
          <a:p>
            <a:pPr marL="457200" lvl="1" indent="0">
              <a:buNone/>
            </a:pPr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316394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13BB8B04-E5CB-4C2F-9112-AAF576D518F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1233996"/>
          </a:xfrm>
          <a:prstGeom prst="rect">
            <a:avLst/>
          </a:prstGeom>
          <a:solidFill>
            <a:srgbClr val="FF5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BBCEDA5-694B-4D4A-8792-54947DCFC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>
                <a:solidFill>
                  <a:schemeClr val="bg1"/>
                </a:solidFill>
              </a:rPr>
              <a:t>Objectius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A7083FA-E8D2-490F-93EC-74B3794FBD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ca-ES" dirty="0"/>
              <a:t>Un primer objectiu és assolir un bon nivell de programació estructurada (amb C), de manera que els estudiants podran estructurar una aplicació i programar algorismes complexos. Els conceptes com apuntadors, assignació dinàmica de memòria, paràmetres referenciats, recursivitat, escalabilitat i estructura d’algorismes s’aprenen desenvolupant llistes, piles i arbres, aplicats a un joc.</a:t>
            </a:r>
          </a:p>
          <a:p>
            <a:r>
              <a:rPr lang="ca-ES" dirty="0"/>
              <a:t>Un segon objectiu és aconseguir un bon nivell en la Programació Orientada a Objectes (amb Java i, el curs vinent, també amb </a:t>
            </a:r>
            <a:r>
              <a:rPr lang="ca-ES" dirty="0" err="1"/>
              <a:t>Python</a:t>
            </a:r>
            <a:r>
              <a:rPr lang="ca-ES" dirty="0"/>
              <a:t>) i també com estructurar i desenvolupar una aplicació mitjançant POO. Els conceptes que s’ensenyen en aquesta part (definició de classe, herència, </a:t>
            </a:r>
            <a:r>
              <a:rPr lang="ca-ES" dirty="0" err="1"/>
              <a:t>overloading</a:t>
            </a:r>
            <a:r>
              <a:rPr lang="ca-ES" dirty="0"/>
              <a:t>, </a:t>
            </a:r>
            <a:r>
              <a:rPr lang="ca-ES" dirty="0" err="1"/>
              <a:t>overriding</a:t>
            </a:r>
            <a:r>
              <a:rPr lang="ca-ES" dirty="0"/>
              <a:t>, etc.) es poden utilitzar com a base per aprendre qualsevol altre llenguatge orientat a objectes (per exemple, C ++).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401153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C6E7F1F6-A8CA-4DA4-91EA-45045B3D178B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1233996"/>
          </a:xfrm>
          <a:prstGeom prst="rect">
            <a:avLst/>
          </a:prstGeom>
          <a:solidFill>
            <a:srgbClr val="FF5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F0703265-7054-4DAB-B897-4994FACFB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>
                <a:solidFill>
                  <a:schemeClr val="bg1"/>
                </a:solidFill>
              </a:rPr>
              <a:t>Primera </a:t>
            </a:r>
            <a:r>
              <a:rPr lang="es-ES" b="1" dirty="0" err="1">
                <a:solidFill>
                  <a:schemeClr val="bg1"/>
                </a:solidFill>
              </a:rPr>
              <a:t>part</a:t>
            </a:r>
            <a:r>
              <a:rPr lang="es-ES" b="1" dirty="0">
                <a:solidFill>
                  <a:schemeClr val="bg1"/>
                </a:solidFill>
              </a:rPr>
              <a:t>: C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1665861-D39D-4183-B4AE-42E3AFB6A8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ca-ES" dirty="0"/>
              <a:t>Aprendrem a treballar els apuntadors i els passos per paràmetre a funcions (els símbols asteriscos ‘*’ i ‘&amp;’ en C).</a:t>
            </a:r>
          </a:p>
          <a:p>
            <a:r>
              <a:rPr lang="ca-ES" dirty="0"/>
              <a:t>Estructurar una aplicació per a què sigui escalable, tant en com distribuir les tasques en funcions com en com separar tot el codi en diferents mòduls.</a:t>
            </a:r>
          </a:p>
          <a:p>
            <a:r>
              <a:rPr lang="ca-ES" dirty="0"/>
              <a:t>Bones pràctiques i evitar errors en el desenvolupament d’una aplicació.</a:t>
            </a:r>
          </a:p>
          <a:p>
            <a:r>
              <a:rPr lang="ca-ES" dirty="0"/>
              <a:t>Treballar les estructures bàsiques en programació: piles, cues, arbres,...</a:t>
            </a:r>
          </a:p>
          <a:p>
            <a:r>
              <a:rPr lang="ca-ES" dirty="0"/>
              <a:t>Desenvolupament d’un joc.</a:t>
            </a:r>
          </a:p>
          <a:p>
            <a:endParaRPr lang="ca-ES" dirty="0"/>
          </a:p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008791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9BE7C628-CB07-4828-941B-EFF6166BBD8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1233996"/>
          </a:xfrm>
          <a:prstGeom prst="rect">
            <a:avLst/>
          </a:prstGeom>
          <a:solidFill>
            <a:srgbClr val="FF5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D7E2383-49F0-48C7-868A-2A260F820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>
                <a:solidFill>
                  <a:schemeClr val="bg1"/>
                </a:solidFill>
              </a:rPr>
              <a:t>Segona</a:t>
            </a:r>
            <a:r>
              <a:rPr lang="es-ES" b="1" dirty="0">
                <a:solidFill>
                  <a:schemeClr val="bg1"/>
                </a:solidFill>
              </a:rPr>
              <a:t> </a:t>
            </a:r>
            <a:r>
              <a:rPr lang="es-ES" b="1" dirty="0" err="1">
                <a:solidFill>
                  <a:schemeClr val="bg1"/>
                </a:solidFill>
              </a:rPr>
              <a:t>part</a:t>
            </a:r>
            <a:r>
              <a:rPr lang="es-ES" b="1" dirty="0">
                <a:solidFill>
                  <a:schemeClr val="bg1"/>
                </a:solidFill>
              </a:rPr>
              <a:t>: Java (i Python)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222804B-91C0-469D-AC2F-411B9BD04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862569" cy="4351338"/>
          </a:xfrm>
        </p:spPr>
        <p:txBody>
          <a:bodyPr>
            <a:normAutofit fontScale="85000" lnSpcReduction="20000"/>
          </a:bodyPr>
          <a:lstStyle/>
          <a:p>
            <a:r>
              <a:rPr lang="ca-ES" dirty="0"/>
              <a:t>Passem de la programació estructurada de C a la Programació orientada a objectes (Java i </a:t>
            </a:r>
            <a:r>
              <a:rPr lang="ca-ES" dirty="0" err="1"/>
              <a:t>Python</a:t>
            </a:r>
            <a:r>
              <a:rPr lang="ca-ES" dirty="0"/>
              <a:t>). Es treballaran conceptes com:</a:t>
            </a:r>
          </a:p>
          <a:p>
            <a:pPr lvl="1"/>
            <a:r>
              <a:rPr lang="ca-ES" dirty="0"/>
              <a:t>Classes i objectes.</a:t>
            </a:r>
          </a:p>
          <a:p>
            <a:pPr lvl="1"/>
            <a:r>
              <a:rPr lang="ca-ES" dirty="0"/>
              <a:t>Herència, </a:t>
            </a:r>
            <a:r>
              <a:rPr lang="ca-ES" dirty="0" err="1"/>
              <a:t>overloading</a:t>
            </a:r>
            <a:r>
              <a:rPr lang="ca-ES" dirty="0"/>
              <a:t>, </a:t>
            </a:r>
            <a:r>
              <a:rPr lang="ca-ES" dirty="0" err="1"/>
              <a:t>overriding</a:t>
            </a:r>
            <a:r>
              <a:rPr lang="ca-ES" dirty="0"/>
              <a:t>, etc.</a:t>
            </a:r>
          </a:p>
          <a:p>
            <a:r>
              <a:rPr lang="ca-ES" dirty="0"/>
              <a:t>Java serà el llenguatge base que treballarem, ja que des de Java podem anar fàcilment a qualsevol altre llenguatge de programació (</a:t>
            </a:r>
            <a:r>
              <a:rPr lang="ca-ES" dirty="0" err="1"/>
              <a:t>Python</a:t>
            </a:r>
            <a:r>
              <a:rPr lang="ca-ES" dirty="0"/>
              <a:t>, C++, etc.)</a:t>
            </a:r>
          </a:p>
          <a:p>
            <a:pPr lvl="1"/>
            <a:r>
              <a:rPr lang="ca-ES" dirty="0"/>
              <a:t>Durant el curs anirem també practicant amb </a:t>
            </a:r>
            <a:r>
              <a:rPr lang="ca-ES" dirty="0" err="1"/>
              <a:t>Python</a:t>
            </a:r>
            <a:r>
              <a:rPr lang="ca-ES" dirty="0"/>
              <a:t>, veient com es faria lo que fem en Java en </a:t>
            </a:r>
            <a:r>
              <a:rPr lang="ca-ES" dirty="0" err="1"/>
              <a:t>Python</a:t>
            </a:r>
            <a:r>
              <a:rPr lang="ca-ES" dirty="0"/>
              <a:t>, i les seves diferències.</a:t>
            </a:r>
          </a:p>
          <a:p>
            <a:r>
              <a:rPr lang="ca-ES" dirty="0"/>
              <a:t>També anirem veient en diferents classes:</a:t>
            </a:r>
          </a:p>
          <a:p>
            <a:pPr lvl="1"/>
            <a:r>
              <a:rPr lang="ca-ES" dirty="0"/>
              <a:t>Connexió a bases de dades i SQL.</a:t>
            </a:r>
          </a:p>
          <a:p>
            <a:pPr lvl="1"/>
            <a:r>
              <a:rPr lang="ca-ES" dirty="0"/>
              <a:t>Comunicació entre màquines.</a:t>
            </a:r>
          </a:p>
          <a:p>
            <a:pPr lvl="1"/>
            <a:r>
              <a:rPr lang="ca-ES" dirty="0"/>
              <a:t>Comparació amb altres llenguatges de programació.</a:t>
            </a:r>
          </a:p>
          <a:p>
            <a:pPr lvl="1"/>
            <a:r>
              <a:rPr lang="ca-ES" dirty="0"/>
              <a:t>Cap al final, farem una sessió d’introducció a </a:t>
            </a:r>
            <a:r>
              <a:rPr lang="ca-ES" dirty="0" err="1"/>
              <a:t>l’Android</a:t>
            </a:r>
            <a:r>
              <a:rPr lang="ca-ES" dirty="0"/>
              <a:t>, desenvolupant una petita </a:t>
            </a:r>
            <a:r>
              <a:rPr lang="ca-ES" dirty="0" err="1"/>
              <a:t>App</a:t>
            </a:r>
            <a:r>
              <a:rPr lang="ca-ES" dirty="0"/>
              <a:t>.</a:t>
            </a:r>
          </a:p>
          <a:p>
            <a:r>
              <a:rPr lang="ca-ES" dirty="0"/>
              <a:t>Desenvolupament d’un joc amb gràfics i animació.</a:t>
            </a:r>
          </a:p>
        </p:txBody>
      </p:sp>
    </p:spTree>
    <p:extLst>
      <p:ext uri="{BB962C8B-B14F-4D97-AF65-F5344CB8AC3E}">
        <p14:creationId xmlns:p14="http://schemas.microsoft.com/office/powerpoint/2010/main" val="3229986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0">
            <a:extLst>
              <a:ext uri="{FF2B5EF4-FFF2-40B4-BE49-F238E27FC236}">
                <a16:creationId xmlns:a16="http://schemas.microsoft.com/office/drawing/2014/main" id="{053405C3-3322-436F-B415-350FCD1802B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192000" cy="1233996"/>
          </a:xfrm>
          <a:prstGeom prst="rect">
            <a:avLst/>
          </a:prstGeom>
          <a:solidFill>
            <a:srgbClr val="FF5C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D7E2383-49F0-48C7-868A-2A260F820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err="1">
                <a:solidFill>
                  <a:schemeClr val="bg1"/>
                </a:solidFill>
              </a:rPr>
              <a:t>Dubtes</a:t>
            </a:r>
            <a:r>
              <a:rPr lang="es-ES" b="1" dirty="0">
                <a:solidFill>
                  <a:schemeClr val="bg1"/>
                </a:solidFill>
              </a:rPr>
              <a:t> i consultes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222804B-91C0-469D-AC2F-411B9BD04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862569" cy="4351338"/>
          </a:xfrm>
        </p:spPr>
        <p:txBody>
          <a:bodyPr>
            <a:normAutofit/>
          </a:bodyPr>
          <a:lstStyle/>
          <a:p>
            <a:r>
              <a:rPr lang="ca-ES" dirty="0"/>
              <a:t>Per a dubtes i consultes, podeu contactar amb mi a:</a:t>
            </a:r>
          </a:p>
          <a:p>
            <a:pPr marL="0" indent="0">
              <a:buNone/>
            </a:pPr>
            <a:r>
              <a:rPr lang="ca-ES" dirty="0"/>
              <a:t>		vicenc.soler@uab.cat</a:t>
            </a:r>
          </a:p>
          <a:p>
            <a:pPr marL="0" indent="0">
              <a:buNone/>
            </a:pPr>
            <a:endParaRPr lang="ca-ES" dirty="0"/>
          </a:p>
          <a:p>
            <a:r>
              <a:rPr lang="ca-ES" dirty="0"/>
              <a:t>O bé, preguntar a estudiants d’anys anteriors que conegueu.</a:t>
            </a:r>
          </a:p>
        </p:txBody>
      </p:sp>
    </p:spTree>
    <p:extLst>
      <p:ext uri="{BB962C8B-B14F-4D97-AF65-F5344CB8AC3E}">
        <p14:creationId xmlns:p14="http://schemas.microsoft.com/office/powerpoint/2010/main" val="2380781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G.mT5cUGZ01jicKJ0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G.mT5cUGZ01jicKJ0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G.mT5cUGZ01jicKJ0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G.mT5cUGZ01jicKJ0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dG.mT5cUGZ01jicKJ06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</TotalTime>
  <Words>505</Words>
  <Application>Microsoft Office PowerPoint</Application>
  <PresentationFormat>Panorámica</PresentationFormat>
  <Paragraphs>37</Paragraphs>
  <Slides>6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0" baseType="lpstr">
      <vt:lpstr>Arial</vt:lpstr>
      <vt:lpstr>Calibri</vt:lpstr>
      <vt:lpstr>Calibri Light</vt:lpstr>
      <vt:lpstr>Tema de Office</vt:lpstr>
      <vt:lpstr>PROGRAMACIÓ AVANÇADA</vt:lpstr>
      <vt:lpstr>L’Assignatura</vt:lpstr>
      <vt:lpstr>Objectius</vt:lpstr>
      <vt:lpstr>Primera part: C</vt:lpstr>
      <vt:lpstr>Segona part: Java (i Python)</vt:lpstr>
      <vt:lpstr>Dubtes i consul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CIÓ AVANÇADA</dc:title>
  <dc:creator>Vicenç Soler Ruiz</dc:creator>
  <cp:lastModifiedBy>Vicenç Soler Ruiz</cp:lastModifiedBy>
  <cp:revision>19</cp:revision>
  <dcterms:created xsi:type="dcterms:W3CDTF">2020-05-13T05:51:36Z</dcterms:created>
  <dcterms:modified xsi:type="dcterms:W3CDTF">2020-05-14T06:19:10Z</dcterms:modified>
</cp:coreProperties>
</file>